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0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A0A533-BEDA-6D8A-CB3A-4890418CE8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B76DFDF-34FD-B88C-D471-90D8A8EE6A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76DFDF-34FD-B88C-D471-90D8A8EE6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359E6B-7DED-F22D-E2E1-E9C2F98B2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56232D-BFC1-E90D-5416-8366BC918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44B5C52-ADC2-830E-8A47-1F21D8E5A1A3}"/>
              </a:ext>
            </a:extLst>
          </p:cNvPr>
          <p:cNvGrpSpPr/>
          <p:nvPr/>
        </p:nvGrpSpPr>
        <p:grpSpPr>
          <a:xfrm flipV="1">
            <a:off x="2651123" y="3124200"/>
            <a:ext cx="2438400" cy="2105027"/>
            <a:chOff x="608012" y="1781173"/>
            <a:chExt cx="2438400" cy="2105027"/>
          </a:xfrm>
        </p:grpSpPr>
        <p:sp>
          <p:nvSpPr>
            <p:cNvPr id="6" name="Arc 5">
              <a:extLst>
                <a:ext uri="{FF2B5EF4-FFF2-40B4-BE49-F238E27FC236}">
                  <a16:creationId xmlns:a16="http://schemas.microsoft.com/office/drawing/2014/main" id="{1738EA71-D945-5A6A-7435-77A099BB3A17}"/>
                </a:ext>
              </a:extLst>
            </p:cNvPr>
            <p:cNvSpPr/>
            <p:nvPr/>
          </p:nvSpPr>
          <p:spPr>
            <a:xfrm>
              <a:off x="1674812" y="2514600"/>
              <a:ext cx="1371600" cy="1371600"/>
            </a:xfrm>
            <a:prstGeom prst="arc">
              <a:avLst>
                <a:gd name="adj1" fmla="val 10812873"/>
                <a:gd name="adj2" fmla="val 16131434"/>
              </a:avLst>
            </a:prstGeom>
            <a:ln w="762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 19">
              <a:extLst>
                <a:ext uri="{FF2B5EF4-FFF2-40B4-BE49-F238E27FC236}">
                  <a16:creationId xmlns:a16="http://schemas.microsoft.com/office/drawing/2014/main" id="{1E509850-04DC-3367-8279-BD8EC49688EA}"/>
                </a:ext>
              </a:extLst>
            </p:cNvPr>
            <p:cNvSpPr/>
            <p:nvPr/>
          </p:nvSpPr>
          <p:spPr>
            <a:xfrm>
              <a:off x="608012" y="3198812"/>
              <a:ext cx="1063626" cy="77788"/>
            </a:xfrm>
            <a:custGeom>
              <a:avLst/>
              <a:gdLst>
                <a:gd name="connsiteX0" fmla="*/ 1403350 w 1403350"/>
                <a:gd name="connsiteY0" fmla="*/ 0 h 0"/>
                <a:gd name="connsiteX1" fmla="*/ 0 w 14033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50">
                  <a:moveTo>
                    <a:pt x="1403350" y="0"/>
                  </a:moveTo>
                  <a:lnTo>
                    <a:pt x="0" y="0"/>
                  </a:lnTo>
                </a:path>
              </a:pathLst>
            </a:custGeom>
            <a:ln w="762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Freeform 20">
              <a:extLst>
                <a:ext uri="{FF2B5EF4-FFF2-40B4-BE49-F238E27FC236}">
                  <a16:creationId xmlns:a16="http://schemas.microsoft.com/office/drawing/2014/main" id="{9DD02A5D-7622-6EAB-F3D6-C2548B284E47}"/>
                </a:ext>
              </a:extLst>
            </p:cNvPr>
            <p:cNvSpPr/>
            <p:nvPr/>
          </p:nvSpPr>
          <p:spPr>
            <a:xfrm rot="5400000">
              <a:off x="1964850" y="2124073"/>
              <a:ext cx="731520" cy="45719"/>
            </a:xfrm>
            <a:custGeom>
              <a:avLst/>
              <a:gdLst>
                <a:gd name="connsiteX0" fmla="*/ 1403350 w 1403350"/>
                <a:gd name="connsiteY0" fmla="*/ 0 h 0"/>
                <a:gd name="connsiteX1" fmla="*/ 0 w 14033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50">
                  <a:moveTo>
                    <a:pt x="1403350" y="0"/>
                  </a:moveTo>
                  <a:lnTo>
                    <a:pt x="0" y="0"/>
                  </a:lnTo>
                </a:path>
              </a:pathLst>
            </a:custGeom>
            <a:ln w="76200" cap="rnd">
              <a:solidFill>
                <a:schemeClr val="accent2"/>
              </a:solidFill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7707744-A016-CB5C-EE93-A3B5B70BF927}"/>
              </a:ext>
            </a:extLst>
          </p:cNvPr>
          <p:cNvGrpSpPr/>
          <p:nvPr/>
        </p:nvGrpSpPr>
        <p:grpSpPr>
          <a:xfrm>
            <a:off x="455612" y="2401888"/>
            <a:ext cx="2438400" cy="2105027"/>
            <a:chOff x="608012" y="1781173"/>
            <a:chExt cx="2438400" cy="2105027"/>
          </a:xfrm>
        </p:grpSpPr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024F41C1-4F48-8D7C-DE40-2613E9A72CD4}"/>
                </a:ext>
              </a:extLst>
            </p:cNvPr>
            <p:cNvSpPr/>
            <p:nvPr/>
          </p:nvSpPr>
          <p:spPr>
            <a:xfrm>
              <a:off x="1674812" y="2514600"/>
              <a:ext cx="1371600" cy="1371600"/>
            </a:xfrm>
            <a:prstGeom prst="arc">
              <a:avLst>
                <a:gd name="adj1" fmla="val 10812873"/>
                <a:gd name="adj2" fmla="val 16131434"/>
              </a:avLst>
            </a:prstGeom>
            <a:ln w="762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469203B3-D5FB-AAEE-42D1-DDC06E210C2C}"/>
                </a:ext>
              </a:extLst>
            </p:cNvPr>
            <p:cNvSpPr/>
            <p:nvPr/>
          </p:nvSpPr>
          <p:spPr>
            <a:xfrm>
              <a:off x="608012" y="3198812"/>
              <a:ext cx="1063626" cy="77788"/>
            </a:xfrm>
            <a:custGeom>
              <a:avLst/>
              <a:gdLst>
                <a:gd name="connsiteX0" fmla="*/ 1403350 w 1403350"/>
                <a:gd name="connsiteY0" fmla="*/ 0 h 0"/>
                <a:gd name="connsiteX1" fmla="*/ 0 w 14033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50">
                  <a:moveTo>
                    <a:pt x="1403350" y="0"/>
                  </a:moveTo>
                  <a:lnTo>
                    <a:pt x="0" y="0"/>
                  </a:lnTo>
                </a:path>
              </a:pathLst>
            </a:custGeom>
            <a:ln w="762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F9FBBAD3-5A1E-B327-0CBD-1FA94CCAC50F}"/>
                </a:ext>
              </a:extLst>
            </p:cNvPr>
            <p:cNvSpPr/>
            <p:nvPr/>
          </p:nvSpPr>
          <p:spPr>
            <a:xfrm rot="5400000">
              <a:off x="1964850" y="2124073"/>
              <a:ext cx="731520" cy="45719"/>
            </a:xfrm>
            <a:custGeom>
              <a:avLst/>
              <a:gdLst>
                <a:gd name="connsiteX0" fmla="*/ 1403350 w 1403350"/>
                <a:gd name="connsiteY0" fmla="*/ 0 h 0"/>
                <a:gd name="connsiteX1" fmla="*/ 0 w 14033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50">
                  <a:moveTo>
                    <a:pt x="1403350" y="0"/>
                  </a:moveTo>
                  <a:lnTo>
                    <a:pt x="0" y="0"/>
                  </a:lnTo>
                </a:path>
              </a:pathLst>
            </a:custGeom>
            <a:ln w="76200" cap="rnd">
              <a:solidFill>
                <a:schemeClr val="accent1"/>
              </a:solidFill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1DFBDAE-8E6A-0313-5782-E46F2F604805}"/>
              </a:ext>
            </a:extLst>
          </p:cNvPr>
          <p:cNvGrpSpPr/>
          <p:nvPr/>
        </p:nvGrpSpPr>
        <p:grpSpPr>
          <a:xfrm>
            <a:off x="4875212" y="2401888"/>
            <a:ext cx="2438400" cy="2105027"/>
            <a:chOff x="608012" y="1781173"/>
            <a:chExt cx="2438400" cy="2105027"/>
          </a:xfrm>
        </p:grpSpPr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316CC32C-F652-D574-92B6-23E3F4066571}"/>
                </a:ext>
              </a:extLst>
            </p:cNvPr>
            <p:cNvSpPr/>
            <p:nvPr/>
          </p:nvSpPr>
          <p:spPr>
            <a:xfrm>
              <a:off x="1674812" y="2514600"/>
              <a:ext cx="1371600" cy="1371600"/>
            </a:xfrm>
            <a:prstGeom prst="arc">
              <a:avLst>
                <a:gd name="adj1" fmla="val 10812873"/>
                <a:gd name="adj2" fmla="val 16131434"/>
              </a:avLst>
            </a:prstGeom>
            <a:ln w="76200" cap="rnd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 29">
              <a:extLst>
                <a:ext uri="{FF2B5EF4-FFF2-40B4-BE49-F238E27FC236}">
                  <a16:creationId xmlns:a16="http://schemas.microsoft.com/office/drawing/2014/main" id="{9461B602-BC06-28DF-617E-20B177933BE8}"/>
                </a:ext>
              </a:extLst>
            </p:cNvPr>
            <p:cNvSpPr/>
            <p:nvPr/>
          </p:nvSpPr>
          <p:spPr>
            <a:xfrm>
              <a:off x="608012" y="3198812"/>
              <a:ext cx="1063626" cy="77788"/>
            </a:xfrm>
            <a:custGeom>
              <a:avLst/>
              <a:gdLst>
                <a:gd name="connsiteX0" fmla="*/ 1403350 w 1403350"/>
                <a:gd name="connsiteY0" fmla="*/ 0 h 0"/>
                <a:gd name="connsiteX1" fmla="*/ 0 w 14033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50">
                  <a:moveTo>
                    <a:pt x="1403350" y="0"/>
                  </a:moveTo>
                  <a:lnTo>
                    <a:pt x="0" y="0"/>
                  </a:lnTo>
                </a:path>
              </a:pathLst>
            </a:custGeom>
            <a:ln w="76200" cap="rnd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Freeform 30">
              <a:extLst>
                <a:ext uri="{FF2B5EF4-FFF2-40B4-BE49-F238E27FC236}">
                  <a16:creationId xmlns:a16="http://schemas.microsoft.com/office/drawing/2014/main" id="{74D387E3-7011-9A16-DF65-1F14E53A7081}"/>
                </a:ext>
              </a:extLst>
            </p:cNvPr>
            <p:cNvSpPr/>
            <p:nvPr/>
          </p:nvSpPr>
          <p:spPr>
            <a:xfrm rot="5400000">
              <a:off x="1964850" y="2124073"/>
              <a:ext cx="731520" cy="45719"/>
            </a:xfrm>
            <a:custGeom>
              <a:avLst/>
              <a:gdLst>
                <a:gd name="connsiteX0" fmla="*/ 1403350 w 1403350"/>
                <a:gd name="connsiteY0" fmla="*/ 0 h 0"/>
                <a:gd name="connsiteX1" fmla="*/ 0 w 14033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50">
                  <a:moveTo>
                    <a:pt x="1403350" y="0"/>
                  </a:moveTo>
                  <a:lnTo>
                    <a:pt x="0" y="0"/>
                  </a:lnTo>
                </a:path>
              </a:pathLst>
            </a:custGeom>
            <a:ln w="76200" cap="rnd">
              <a:solidFill>
                <a:schemeClr val="accent3"/>
              </a:solidFill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6F69536-4C15-2DC9-C843-91DB90FDB1F4}"/>
              </a:ext>
            </a:extLst>
          </p:cNvPr>
          <p:cNvGrpSpPr/>
          <p:nvPr/>
        </p:nvGrpSpPr>
        <p:grpSpPr>
          <a:xfrm flipV="1">
            <a:off x="7070723" y="3124200"/>
            <a:ext cx="2438400" cy="2105027"/>
            <a:chOff x="608012" y="1781173"/>
            <a:chExt cx="2438400" cy="2105027"/>
          </a:xfrm>
        </p:grpSpPr>
        <p:sp>
          <p:nvSpPr>
            <p:cNvPr id="18" name="Arc 17">
              <a:extLst>
                <a:ext uri="{FF2B5EF4-FFF2-40B4-BE49-F238E27FC236}">
                  <a16:creationId xmlns:a16="http://schemas.microsoft.com/office/drawing/2014/main" id="{BB881331-3362-F343-CF61-FFEFBE46436F}"/>
                </a:ext>
              </a:extLst>
            </p:cNvPr>
            <p:cNvSpPr/>
            <p:nvPr/>
          </p:nvSpPr>
          <p:spPr>
            <a:xfrm>
              <a:off x="1674812" y="2514600"/>
              <a:ext cx="1371600" cy="1371600"/>
            </a:xfrm>
            <a:prstGeom prst="arc">
              <a:avLst>
                <a:gd name="adj1" fmla="val 10812873"/>
                <a:gd name="adj2" fmla="val 16131434"/>
              </a:avLst>
            </a:prstGeom>
            <a:ln w="76200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33">
              <a:extLst>
                <a:ext uri="{FF2B5EF4-FFF2-40B4-BE49-F238E27FC236}">
                  <a16:creationId xmlns:a16="http://schemas.microsoft.com/office/drawing/2014/main" id="{353256DA-B75D-B624-D2D5-26D6A55CE5B5}"/>
                </a:ext>
              </a:extLst>
            </p:cNvPr>
            <p:cNvSpPr/>
            <p:nvPr/>
          </p:nvSpPr>
          <p:spPr>
            <a:xfrm>
              <a:off x="608012" y="3198812"/>
              <a:ext cx="1063626" cy="77788"/>
            </a:xfrm>
            <a:custGeom>
              <a:avLst/>
              <a:gdLst>
                <a:gd name="connsiteX0" fmla="*/ 1403350 w 1403350"/>
                <a:gd name="connsiteY0" fmla="*/ 0 h 0"/>
                <a:gd name="connsiteX1" fmla="*/ 0 w 14033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50">
                  <a:moveTo>
                    <a:pt x="1403350" y="0"/>
                  </a:moveTo>
                  <a:lnTo>
                    <a:pt x="0" y="0"/>
                  </a:lnTo>
                </a:path>
              </a:pathLst>
            </a:custGeom>
            <a:ln w="76200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Freeform 34">
              <a:extLst>
                <a:ext uri="{FF2B5EF4-FFF2-40B4-BE49-F238E27FC236}">
                  <a16:creationId xmlns:a16="http://schemas.microsoft.com/office/drawing/2014/main" id="{090D3123-1492-B3E8-DB74-DA77F8B1AF89}"/>
                </a:ext>
              </a:extLst>
            </p:cNvPr>
            <p:cNvSpPr/>
            <p:nvPr/>
          </p:nvSpPr>
          <p:spPr>
            <a:xfrm rot="5400000">
              <a:off x="1964850" y="2124073"/>
              <a:ext cx="731520" cy="45719"/>
            </a:xfrm>
            <a:custGeom>
              <a:avLst/>
              <a:gdLst>
                <a:gd name="connsiteX0" fmla="*/ 1403350 w 1403350"/>
                <a:gd name="connsiteY0" fmla="*/ 0 h 0"/>
                <a:gd name="connsiteX1" fmla="*/ 0 w 14033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50">
                  <a:moveTo>
                    <a:pt x="1403350" y="0"/>
                  </a:moveTo>
                  <a:lnTo>
                    <a:pt x="0" y="0"/>
                  </a:lnTo>
                </a:path>
              </a:pathLst>
            </a:custGeom>
            <a:ln w="76200" cap="rnd">
              <a:solidFill>
                <a:schemeClr val="accent4"/>
              </a:solidFill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4E8C574-DB08-9B99-0205-DB5878A5AA2F}"/>
              </a:ext>
            </a:extLst>
          </p:cNvPr>
          <p:cNvGrpSpPr/>
          <p:nvPr/>
        </p:nvGrpSpPr>
        <p:grpSpPr>
          <a:xfrm>
            <a:off x="9294812" y="2401888"/>
            <a:ext cx="2438400" cy="2105027"/>
            <a:chOff x="608012" y="1781173"/>
            <a:chExt cx="2438400" cy="2105027"/>
          </a:xfrm>
        </p:grpSpPr>
        <p:sp>
          <p:nvSpPr>
            <p:cNvPr id="22" name="Arc 21">
              <a:extLst>
                <a:ext uri="{FF2B5EF4-FFF2-40B4-BE49-F238E27FC236}">
                  <a16:creationId xmlns:a16="http://schemas.microsoft.com/office/drawing/2014/main" id="{EE1ECB78-1DF6-3CB5-1AB0-CE6B1535D871}"/>
                </a:ext>
              </a:extLst>
            </p:cNvPr>
            <p:cNvSpPr/>
            <p:nvPr/>
          </p:nvSpPr>
          <p:spPr>
            <a:xfrm>
              <a:off x="1674812" y="2514600"/>
              <a:ext cx="1371600" cy="1371600"/>
            </a:xfrm>
            <a:prstGeom prst="arc">
              <a:avLst>
                <a:gd name="adj1" fmla="val 10812873"/>
                <a:gd name="adj2" fmla="val 16131434"/>
              </a:avLst>
            </a:prstGeom>
            <a:ln w="7620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43">
              <a:extLst>
                <a:ext uri="{FF2B5EF4-FFF2-40B4-BE49-F238E27FC236}">
                  <a16:creationId xmlns:a16="http://schemas.microsoft.com/office/drawing/2014/main" id="{871C6B64-662E-A72B-A7CD-5D569E11F607}"/>
                </a:ext>
              </a:extLst>
            </p:cNvPr>
            <p:cNvSpPr/>
            <p:nvPr/>
          </p:nvSpPr>
          <p:spPr>
            <a:xfrm>
              <a:off x="608012" y="3198812"/>
              <a:ext cx="1063626" cy="77788"/>
            </a:xfrm>
            <a:custGeom>
              <a:avLst/>
              <a:gdLst>
                <a:gd name="connsiteX0" fmla="*/ 1403350 w 1403350"/>
                <a:gd name="connsiteY0" fmla="*/ 0 h 0"/>
                <a:gd name="connsiteX1" fmla="*/ 0 w 14033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50">
                  <a:moveTo>
                    <a:pt x="1403350" y="0"/>
                  </a:moveTo>
                  <a:lnTo>
                    <a:pt x="0" y="0"/>
                  </a:lnTo>
                </a:path>
              </a:pathLst>
            </a:custGeom>
            <a:ln w="7620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Freeform 44">
              <a:extLst>
                <a:ext uri="{FF2B5EF4-FFF2-40B4-BE49-F238E27FC236}">
                  <a16:creationId xmlns:a16="http://schemas.microsoft.com/office/drawing/2014/main" id="{83A68382-5927-3D5F-0D92-B3971AED2089}"/>
                </a:ext>
              </a:extLst>
            </p:cNvPr>
            <p:cNvSpPr/>
            <p:nvPr/>
          </p:nvSpPr>
          <p:spPr>
            <a:xfrm rot="5400000">
              <a:off x="1964850" y="2124073"/>
              <a:ext cx="731520" cy="45719"/>
            </a:xfrm>
            <a:custGeom>
              <a:avLst/>
              <a:gdLst>
                <a:gd name="connsiteX0" fmla="*/ 1403350 w 1403350"/>
                <a:gd name="connsiteY0" fmla="*/ 0 h 0"/>
                <a:gd name="connsiteX1" fmla="*/ 0 w 14033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03350">
                  <a:moveTo>
                    <a:pt x="1403350" y="0"/>
                  </a:moveTo>
                  <a:lnTo>
                    <a:pt x="0" y="0"/>
                  </a:lnTo>
                </a:path>
              </a:pathLst>
            </a:custGeom>
            <a:ln w="76200" cap="rnd">
              <a:solidFill>
                <a:schemeClr val="accent5"/>
              </a:solidFill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8A2A26D-7BBF-1281-1421-A5EED488ACEA}"/>
              </a:ext>
            </a:extLst>
          </p:cNvPr>
          <p:cNvGrpSpPr/>
          <p:nvPr/>
        </p:nvGrpSpPr>
        <p:grpSpPr>
          <a:xfrm>
            <a:off x="1660523" y="3263900"/>
            <a:ext cx="1066800" cy="1066800"/>
            <a:chOff x="9726611" y="2667000"/>
            <a:chExt cx="1066800" cy="106680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68FF6CB-78AA-5250-FDC1-7B03913F4132}"/>
                </a:ext>
              </a:extLst>
            </p:cNvPr>
            <p:cNvSpPr/>
            <p:nvPr/>
          </p:nvSpPr>
          <p:spPr>
            <a:xfrm>
              <a:off x="9726611" y="2667000"/>
              <a:ext cx="1066800" cy="1066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889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2E4EF403-9E24-8FD3-D036-C4CA0D7A28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28212" y="2768601"/>
              <a:ext cx="863598" cy="863598"/>
            </a:xfrm>
            <a:prstGeom prst="ellipse">
              <a:avLst/>
            </a:prstGeom>
            <a:gradFill flip="none" rotWithShape="1">
              <a:gsLst>
                <a:gs pos="60000">
                  <a:schemeClr val="bg1"/>
                </a:gs>
                <a:gs pos="0">
                  <a:schemeClr val="bg1">
                    <a:lumMod val="92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C097D2E-5FB6-DC49-4CB4-3148348E7A52}"/>
              </a:ext>
            </a:extLst>
          </p:cNvPr>
          <p:cNvGrpSpPr/>
          <p:nvPr/>
        </p:nvGrpSpPr>
        <p:grpSpPr>
          <a:xfrm>
            <a:off x="3870323" y="3263900"/>
            <a:ext cx="1066800" cy="1066800"/>
            <a:chOff x="9726611" y="2667000"/>
            <a:chExt cx="1066800" cy="10668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35413D07-78CC-68BA-FC18-FDE62BCA1AB6}"/>
                </a:ext>
              </a:extLst>
            </p:cNvPr>
            <p:cNvSpPr/>
            <p:nvPr/>
          </p:nvSpPr>
          <p:spPr>
            <a:xfrm>
              <a:off x="9726611" y="2667000"/>
              <a:ext cx="1066800" cy="1066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889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852C647-1F99-501B-9D0B-1E825F4540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28212" y="2768601"/>
              <a:ext cx="863598" cy="863598"/>
            </a:xfrm>
            <a:prstGeom prst="ellipse">
              <a:avLst/>
            </a:prstGeom>
            <a:gradFill flip="none" rotWithShape="1">
              <a:gsLst>
                <a:gs pos="60000">
                  <a:schemeClr val="bg1"/>
                </a:gs>
                <a:gs pos="0">
                  <a:schemeClr val="bg1">
                    <a:lumMod val="92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123CFE8-F00C-A70F-5C08-AAC950B1A48C}"/>
              </a:ext>
            </a:extLst>
          </p:cNvPr>
          <p:cNvGrpSpPr/>
          <p:nvPr/>
        </p:nvGrpSpPr>
        <p:grpSpPr>
          <a:xfrm>
            <a:off x="6080123" y="3263900"/>
            <a:ext cx="1066800" cy="1066800"/>
            <a:chOff x="9726611" y="2667000"/>
            <a:chExt cx="1066800" cy="106680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49B448E-2E86-F263-CAA5-CCF05F8B145C}"/>
                </a:ext>
              </a:extLst>
            </p:cNvPr>
            <p:cNvSpPr/>
            <p:nvPr/>
          </p:nvSpPr>
          <p:spPr>
            <a:xfrm>
              <a:off x="9726611" y="2667000"/>
              <a:ext cx="1066800" cy="1066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889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D040809-5E56-B138-B607-E7A53088C3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28212" y="2768601"/>
              <a:ext cx="863598" cy="863598"/>
            </a:xfrm>
            <a:prstGeom prst="ellipse">
              <a:avLst/>
            </a:prstGeom>
            <a:gradFill flip="none" rotWithShape="1">
              <a:gsLst>
                <a:gs pos="60000">
                  <a:schemeClr val="bg1"/>
                </a:gs>
                <a:gs pos="0">
                  <a:schemeClr val="bg1">
                    <a:lumMod val="92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F0E949-D71F-6C54-569B-BFBD71F4474B}"/>
              </a:ext>
            </a:extLst>
          </p:cNvPr>
          <p:cNvGrpSpPr/>
          <p:nvPr/>
        </p:nvGrpSpPr>
        <p:grpSpPr>
          <a:xfrm>
            <a:off x="8289923" y="3263900"/>
            <a:ext cx="1066800" cy="1066800"/>
            <a:chOff x="9726611" y="2667000"/>
            <a:chExt cx="1066800" cy="106680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2C8518CE-F767-EEE4-C39A-64C979E59BDE}"/>
                </a:ext>
              </a:extLst>
            </p:cNvPr>
            <p:cNvSpPr/>
            <p:nvPr/>
          </p:nvSpPr>
          <p:spPr>
            <a:xfrm>
              <a:off x="9726611" y="2667000"/>
              <a:ext cx="1066800" cy="1066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889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FF5304E-6D72-955A-63FF-86D2297546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28212" y="2768601"/>
              <a:ext cx="863598" cy="863598"/>
            </a:xfrm>
            <a:prstGeom prst="ellipse">
              <a:avLst/>
            </a:prstGeom>
            <a:gradFill flip="none" rotWithShape="1">
              <a:gsLst>
                <a:gs pos="60000">
                  <a:schemeClr val="bg1"/>
                </a:gs>
                <a:gs pos="0">
                  <a:schemeClr val="bg1">
                    <a:lumMod val="92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8A83A7C-ABCF-9D08-DB9A-0C55ACA736C7}"/>
              </a:ext>
            </a:extLst>
          </p:cNvPr>
          <p:cNvGrpSpPr/>
          <p:nvPr/>
        </p:nvGrpSpPr>
        <p:grpSpPr>
          <a:xfrm>
            <a:off x="10499723" y="3263900"/>
            <a:ext cx="1066800" cy="1066800"/>
            <a:chOff x="9726611" y="2667000"/>
            <a:chExt cx="1066800" cy="106680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778D6075-DB8E-39E4-212C-DFD6EB8462C5}"/>
                </a:ext>
              </a:extLst>
            </p:cNvPr>
            <p:cNvSpPr/>
            <p:nvPr/>
          </p:nvSpPr>
          <p:spPr>
            <a:xfrm>
              <a:off x="9726611" y="2667000"/>
              <a:ext cx="1066800" cy="1066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889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8F957C6-58EC-9726-0A39-B9BB0C7A04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28212" y="2768601"/>
              <a:ext cx="863598" cy="863598"/>
            </a:xfrm>
            <a:prstGeom prst="ellipse">
              <a:avLst/>
            </a:prstGeom>
            <a:gradFill flip="none" rotWithShape="1">
              <a:gsLst>
                <a:gs pos="60000">
                  <a:schemeClr val="bg1"/>
                </a:gs>
                <a:gs pos="0">
                  <a:schemeClr val="bg1">
                    <a:lumMod val="92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D57C59E8-95DE-92D9-1A2B-D5A8D130C42A}"/>
              </a:ext>
            </a:extLst>
          </p:cNvPr>
          <p:cNvSpPr txBox="1"/>
          <p:nvPr/>
        </p:nvSpPr>
        <p:spPr>
          <a:xfrm>
            <a:off x="1801812" y="4559300"/>
            <a:ext cx="755335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000" b="1" i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2018</a:t>
            </a:r>
            <a:endParaRPr lang="en-US" sz="2000" b="1" i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EB11D27-DF2F-BC3E-4BF3-BA62D162ABF3}"/>
              </a:ext>
            </a:extLst>
          </p:cNvPr>
          <p:cNvSpPr txBox="1"/>
          <p:nvPr/>
        </p:nvSpPr>
        <p:spPr>
          <a:xfrm>
            <a:off x="4037012" y="2730500"/>
            <a:ext cx="755336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000" b="1" i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2019</a:t>
            </a:r>
            <a:endParaRPr lang="en-US" sz="2000" b="1" i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4FDA713-A077-92FA-83B9-789D147477CC}"/>
              </a:ext>
            </a:extLst>
          </p:cNvPr>
          <p:cNvSpPr txBox="1"/>
          <p:nvPr/>
        </p:nvSpPr>
        <p:spPr>
          <a:xfrm>
            <a:off x="6170612" y="4559300"/>
            <a:ext cx="755336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000" b="1" i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2020</a:t>
            </a:r>
            <a:endParaRPr lang="en-US" sz="2000" b="1" i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F7139DA-DD69-52F1-AF98-EF890F0E9424}"/>
              </a:ext>
            </a:extLst>
          </p:cNvPr>
          <p:cNvSpPr txBox="1"/>
          <p:nvPr/>
        </p:nvSpPr>
        <p:spPr>
          <a:xfrm>
            <a:off x="8405812" y="2730500"/>
            <a:ext cx="755336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000" b="1" i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2021</a:t>
            </a:r>
            <a:endParaRPr lang="en-US" sz="2000" b="1" i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A5E4472-478F-B87C-5D72-3CAF570BE093}"/>
              </a:ext>
            </a:extLst>
          </p:cNvPr>
          <p:cNvSpPr txBox="1"/>
          <p:nvPr/>
        </p:nvSpPr>
        <p:spPr>
          <a:xfrm>
            <a:off x="10666412" y="4559300"/>
            <a:ext cx="755336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000" b="1" i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2022</a:t>
            </a:r>
            <a:endParaRPr lang="en-US" sz="2000" b="1" i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3899203-564C-2E74-E2EE-75E827910FF4}"/>
              </a:ext>
            </a:extLst>
          </p:cNvPr>
          <p:cNvSpPr txBox="1"/>
          <p:nvPr/>
        </p:nvSpPr>
        <p:spPr>
          <a:xfrm>
            <a:off x="1278835" y="1371600"/>
            <a:ext cx="1843778" cy="9079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  <a:cs typeface="Arial" panose="020B0604020202020204" pitchFamily="34" charset="0"/>
              </a:rPr>
              <a:t>Heading</a:t>
            </a:r>
          </a:p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nsert your text her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05D6C0E-21A2-7AD1-C3B7-5371ECBA2DA3}"/>
              </a:ext>
            </a:extLst>
          </p:cNvPr>
          <p:cNvSpPr txBox="1"/>
          <p:nvPr/>
        </p:nvSpPr>
        <p:spPr>
          <a:xfrm>
            <a:off x="3503612" y="5340436"/>
            <a:ext cx="1843778" cy="9079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cs typeface="Arial" panose="020B0604020202020204" pitchFamily="34" charset="0"/>
              </a:rPr>
              <a:t>Heading</a:t>
            </a:r>
          </a:p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nsert your text her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B00FF7E-F43B-B04B-103F-28CE34EF43CD}"/>
              </a:ext>
            </a:extLst>
          </p:cNvPr>
          <p:cNvSpPr txBox="1"/>
          <p:nvPr/>
        </p:nvSpPr>
        <p:spPr>
          <a:xfrm>
            <a:off x="5713412" y="1371600"/>
            <a:ext cx="1843778" cy="9079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accent3"/>
                </a:solidFill>
                <a:cs typeface="Arial" panose="020B0604020202020204" pitchFamily="34" charset="0"/>
              </a:rPr>
              <a:t>Heading</a:t>
            </a:r>
          </a:p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nsert your text he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F8B1C72-C148-D1C2-F39E-F274D2D8D96E}"/>
              </a:ext>
            </a:extLst>
          </p:cNvPr>
          <p:cNvSpPr txBox="1"/>
          <p:nvPr/>
        </p:nvSpPr>
        <p:spPr>
          <a:xfrm>
            <a:off x="7938189" y="5340436"/>
            <a:ext cx="1843778" cy="9079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accent4"/>
                </a:solidFill>
                <a:cs typeface="Arial" panose="020B0604020202020204" pitchFamily="34" charset="0"/>
              </a:rPr>
              <a:t>Heading</a:t>
            </a:r>
          </a:p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nsert your text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86690A3-3E4A-690A-9CDD-914079861636}"/>
              </a:ext>
            </a:extLst>
          </p:cNvPr>
          <p:cNvSpPr txBox="1"/>
          <p:nvPr/>
        </p:nvSpPr>
        <p:spPr>
          <a:xfrm>
            <a:off x="10056812" y="1371600"/>
            <a:ext cx="1843778" cy="9079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accent5"/>
                </a:solidFill>
                <a:cs typeface="Arial" panose="020B0604020202020204" pitchFamily="34" charset="0"/>
              </a:rPr>
              <a:t>Heading</a:t>
            </a:r>
          </a:p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nsert your text here</a:t>
            </a:r>
          </a:p>
        </p:txBody>
      </p:sp>
      <p:sp>
        <p:nvSpPr>
          <p:cNvPr id="50" name="Freeform 56">
            <a:extLst>
              <a:ext uri="{FF2B5EF4-FFF2-40B4-BE49-F238E27FC236}">
                <a16:creationId xmlns:a16="http://schemas.microsoft.com/office/drawing/2014/main" id="{15A835A6-6908-DFB4-E97E-08FD2893223B}"/>
              </a:ext>
            </a:extLst>
          </p:cNvPr>
          <p:cNvSpPr>
            <a:spLocks noEditPoints="1"/>
          </p:cNvSpPr>
          <p:nvPr/>
        </p:nvSpPr>
        <p:spPr bwMode="auto">
          <a:xfrm>
            <a:off x="1993534" y="3547063"/>
            <a:ext cx="400778" cy="500474"/>
          </a:xfrm>
          <a:custGeom>
            <a:avLst/>
            <a:gdLst>
              <a:gd name="T0" fmla="*/ 9 w 85"/>
              <a:gd name="T1" fmla="*/ 0 h 106"/>
              <a:gd name="T2" fmla="*/ 0 w 85"/>
              <a:gd name="T3" fmla="*/ 9 h 106"/>
              <a:gd name="T4" fmla="*/ 0 w 85"/>
              <a:gd name="T5" fmla="*/ 98 h 106"/>
              <a:gd name="T6" fmla="*/ 9 w 85"/>
              <a:gd name="T7" fmla="*/ 106 h 106"/>
              <a:gd name="T8" fmla="*/ 76 w 85"/>
              <a:gd name="T9" fmla="*/ 106 h 106"/>
              <a:gd name="T10" fmla="*/ 85 w 85"/>
              <a:gd name="T11" fmla="*/ 98 h 106"/>
              <a:gd name="T12" fmla="*/ 85 w 85"/>
              <a:gd name="T13" fmla="*/ 31 h 106"/>
              <a:gd name="T14" fmla="*/ 81 w 85"/>
              <a:gd name="T15" fmla="*/ 23 h 106"/>
              <a:gd name="T16" fmla="*/ 61 w 85"/>
              <a:gd name="T17" fmla="*/ 3 h 106"/>
              <a:gd name="T18" fmla="*/ 54 w 85"/>
              <a:gd name="T19" fmla="*/ 0 h 106"/>
              <a:gd name="T20" fmla="*/ 9 w 85"/>
              <a:gd name="T21" fmla="*/ 0 h 106"/>
              <a:gd name="T22" fmla="*/ 40 w 85"/>
              <a:gd name="T23" fmla="*/ 16 h 106"/>
              <a:gd name="T24" fmla="*/ 45 w 85"/>
              <a:gd name="T25" fmla="*/ 11 h 106"/>
              <a:gd name="T26" fmla="*/ 49 w 85"/>
              <a:gd name="T27" fmla="*/ 16 h 106"/>
              <a:gd name="T28" fmla="*/ 49 w 85"/>
              <a:gd name="T29" fmla="*/ 32 h 106"/>
              <a:gd name="T30" fmla="*/ 52 w 85"/>
              <a:gd name="T31" fmla="*/ 36 h 106"/>
              <a:gd name="T32" fmla="*/ 69 w 85"/>
              <a:gd name="T33" fmla="*/ 36 h 106"/>
              <a:gd name="T34" fmla="*/ 73 w 85"/>
              <a:gd name="T35" fmla="*/ 40 h 106"/>
              <a:gd name="T36" fmla="*/ 69 w 85"/>
              <a:gd name="T37" fmla="*/ 44 h 106"/>
              <a:gd name="T38" fmla="*/ 49 w 85"/>
              <a:gd name="T39" fmla="*/ 44 h 106"/>
              <a:gd name="T40" fmla="*/ 40 w 85"/>
              <a:gd name="T41" fmla="*/ 36 h 106"/>
              <a:gd name="T42" fmla="*/ 40 w 85"/>
              <a:gd name="T43" fmla="*/ 16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85" h="106">
                <a:moveTo>
                  <a:pt x="9" y="0"/>
                </a:moveTo>
                <a:cubicBezTo>
                  <a:pt x="4" y="0"/>
                  <a:pt x="0" y="4"/>
                  <a:pt x="0" y="9"/>
                </a:cubicBezTo>
                <a:cubicBezTo>
                  <a:pt x="0" y="98"/>
                  <a:pt x="0" y="98"/>
                  <a:pt x="0" y="98"/>
                </a:cubicBezTo>
                <a:cubicBezTo>
                  <a:pt x="0" y="103"/>
                  <a:pt x="4" y="106"/>
                  <a:pt x="9" y="106"/>
                </a:cubicBezTo>
                <a:cubicBezTo>
                  <a:pt x="76" y="106"/>
                  <a:pt x="76" y="106"/>
                  <a:pt x="76" y="106"/>
                </a:cubicBezTo>
                <a:cubicBezTo>
                  <a:pt x="81" y="106"/>
                  <a:pt x="85" y="103"/>
                  <a:pt x="85" y="98"/>
                </a:cubicBezTo>
                <a:cubicBezTo>
                  <a:pt x="85" y="31"/>
                  <a:pt x="85" y="31"/>
                  <a:pt x="85" y="31"/>
                </a:cubicBezTo>
                <a:cubicBezTo>
                  <a:pt x="85" y="28"/>
                  <a:pt x="83" y="25"/>
                  <a:pt x="81" y="23"/>
                </a:cubicBezTo>
                <a:cubicBezTo>
                  <a:pt x="61" y="3"/>
                  <a:pt x="61" y="3"/>
                  <a:pt x="61" y="3"/>
                </a:cubicBezTo>
                <a:cubicBezTo>
                  <a:pt x="59" y="1"/>
                  <a:pt x="57" y="0"/>
                  <a:pt x="54" y="0"/>
                </a:cubicBezTo>
                <a:lnTo>
                  <a:pt x="9" y="0"/>
                </a:lnTo>
                <a:close/>
                <a:moveTo>
                  <a:pt x="40" y="16"/>
                </a:moveTo>
                <a:cubicBezTo>
                  <a:pt x="40" y="13"/>
                  <a:pt x="42" y="11"/>
                  <a:pt x="45" y="11"/>
                </a:cubicBezTo>
                <a:cubicBezTo>
                  <a:pt x="47" y="11"/>
                  <a:pt x="49" y="13"/>
                  <a:pt x="49" y="16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4"/>
                  <a:pt x="51" y="36"/>
                  <a:pt x="52" y="36"/>
                </a:cubicBezTo>
                <a:cubicBezTo>
                  <a:pt x="69" y="36"/>
                  <a:pt x="69" y="36"/>
                  <a:pt x="69" y="36"/>
                </a:cubicBezTo>
                <a:cubicBezTo>
                  <a:pt x="71" y="36"/>
                  <a:pt x="73" y="38"/>
                  <a:pt x="73" y="40"/>
                </a:cubicBezTo>
                <a:cubicBezTo>
                  <a:pt x="73" y="42"/>
                  <a:pt x="71" y="44"/>
                  <a:pt x="69" y="44"/>
                </a:cubicBezTo>
                <a:cubicBezTo>
                  <a:pt x="49" y="44"/>
                  <a:pt x="49" y="44"/>
                  <a:pt x="49" y="44"/>
                </a:cubicBezTo>
                <a:cubicBezTo>
                  <a:pt x="44" y="44"/>
                  <a:pt x="40" y="40"/>
                  <a:pt x="40" y="36"/>
                </a:cubicBezTo>
                <a:lnTo>
                  <a:pt x="40" y="1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57">
            <a:extLst>
              <a:ext uri="{FF2B5EF4-FFF2-40B4-BE49-F238E27FC236}">
                <a16:creationId xmlns:a16="http://schemas.microsoft.com/office/drawing/2014/main" id="{0C7C06A6-2C97-D780-4D37-2DB3F5813DDA}"/>
              </a:ext>
            </a:extLst>
          </p:cNvPr>
          <p:cNvSpPr>
            <a:spLocks noEditPoints="1"/>
          </p:cNvSpPr>
          <p:nvPr/>
        </p:nvSpPr>
        <p:spPr bwMode="auto">
          <a:xfrm>
            <a:off x="8571092" y="3545070"/>
            <a:ext cx="504463" cy="504461"/>
          </a:xfrm>
          <a:custGeom>
            <a:avLst/>
            <a:gdLst>
              <a:gd name="T0" fmla="*/ 20 w 107"/>
              <a:gd name="T1" fmla="*/ 26 h 107"/>
              <a:gd name="T2" fmla="*/ 20 w 107"/>
              <a:gd name="T3" fmla="*/ 27 h 107"/>
              <a:gd name="T4" fmla="*/ 26 w 107"/>
              <a:gd name="T5" fmla="*/ 65 h 107"/>
              <a:gd name="T6" fmla="*/ 49 w 107"/>
              <a:gd name="T7" fmla="*/ 83 h 107"/>
              <a:gd name="T8" fmla="*/ 54 w 107"/>
              <a:gd name="T9" fmla="*/ 85 h 107"/>
              <a:gd name="T10" fmla="*/ 58 w 107"/>
              <a:gd name="T11" fmla="*/ 83 h 107"/>
              <a:gd name="T12" fmla="*/ 81 w 107"/>
              <a:gd name="T13" fmla="*/ 65 h 107"/>
              <a:gd name="T14" fmla="*/ 87 w 107"/>
              <a:gd name="T15" fmla="*/ 27 h 107"/>
              <a:gd name="T16" fmla="*/ 87 w 107"/>
              <a:gd name="T17" fmla="*/ 26 h 107"/>
              <a:gd name="T18" fmla="*/ 84 w 107"/>
              <a:gd name="T19" fmla="*/ 22 h 107"/>
              <a:gd name="T20" fmla="*/ 54 w 107"/>
              <a:gd name="T21" fmla="*/ 19 h 107"/>
              <a:gd name="T22" fmla="*/ 23 w 107"/>
              <a:gd name="T23" fmla="*/ 22 h 107"/>
              <a:gd name="T24" fmla="*/ 20 w 107"/>
              <a:gd name="T25" fmla="*/ 26 h 107"/>
              <a:gd name="T26" fmla="*/ 0 w 107"/>
              <a:gd name="T27" fmla="*/ 14 h 107"/>
              <a:gd name="T28" fmla="*/ 0 w 107"/>
              <a:gd name="T29" fmla="*/ 14 h 107"/>
              <a:gd name="T30" fmla="*/ 9 w 107"/>
              <a:gd name="T31" fmla="*/ 76 h 107"/>
              <a:gd name="T32" fmla="*/ 46 w 107"/>
              <a:gd name="T33" fmla="*/ 104 h 107"/>
              <a:gd name="T34" fmla="*/ 54 w 107"/>
              <a:gd name="T35" fmla="*/ 107 h 107"/>
              <a:gd name="T36" fmla="*/ 61 w 107"/>
              <a:gd name="T37" fmla="*/ 104 h 107"/>
              <a:gd name="T38" fmla="*/ 98 w 107"/>
              <a:gd name="T39" fmla="*/ 76 h 107"/>
              <a:gd name="T40" fmla="*/ 107 w 107"/>
              <a:gd name="T41" fmla="*/ 14 h 107"/>
              <a:gd name="T42" fmla="*/ 107 w 107"/>
              <a:gd name="T43" fmla="*/ 14 h 107"/>
              <a:gd name="T44" fmla="*/ 102 w 107"/>
              <a:gd name="T45" fmla="*/ 7 h 107"/>
              <a:gd name="T46" fmla="*/ 54 w 107"/>
              <a:gd name="T47" fmla="*/ 0 h 107"/>
              <a:gd name="T48" fmla="*/ 5 w 107"/>
              <a:gd name="T49" fmla="*/ 7 h 107"/>
              <a:gd name="T50" fmla="*/ 0 w 107"/>
              <a:gd name="T51" fmla="*/ 14 h 107"/>
              <a:gd name="T52" fmla="*/ 11 w 107"/>
              <a:gd name="T53" fmla="*/ 21 h 107"/>
              <a:gd name="T54" fmla="*/ 15 w 107"/>
              <a:gd name="T55" fmla="*/ 16 h 107"/>
              <a:gd name="T56" fmla="*/ 54 w 107"/>
              <a:gd name="T57" fmla="*/ 11 h 107"/>
              <a:gd name="T58" fmla="*/ 92 w 107"/>
              <a:gd name="T59" fmla="*/ 16 h 107"/>
              <a:gd name="T60" fmla="*/ 96 w 107"/>
              <a:gd name="T61" fmla="*/ 21 h 107"/>
              <a:gd name="T62" fmla="*/ 96 w 107"/>
              <a:gd name="T63" fmla="*/ 21 h 107"/>
              <a:gd name="T64" fmla="*/ 89 w 107"/>
              <a:gd name="T65" fmla="*/ 71 h 107"/>
              <a:gd name="T66" fmla="*/ 60 w 107"/>
              <a:gd name="T67" fmla="*/ 93 h 107"/>
              <a:gd name="T68" fmla="*/ 54 w 107"/>
              <a:gd name="T69" fmla="*/ 95 h 107"/>
              <a:gd name="T70" fmla="*/ 48 w 107"/>
              <a:gd name="T71" fmla="*/ 93 h 107"/>
              <a:gd name="T72" fmla="*/ 18 w 107"/>
              <a:gd name="T73" fmla="*/ 71 h 107"/>
              <a:gd name="T74" fmla="*/ 11 w 107"/>
              <a:gd name="T75" fmla="*/ 21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07" h="107">
                <a:moveTo>
                  <a:pt x="20" y="26"/>
                </a:moveTo>
                <a:cubicBezTo>
                  <a:pt x="20" y="27"/>
                  <a:pt x="20" y="27"/>
                  <a:pt x="20" y="27"/>
                </a:cubicBezTo>
                <a:cubicBezTo>
                  <a:pt x="21" y="46"/>
                  <a:pt x="25" y="64"/>
                  <a:pt x="26" y="65"/>
                </a:cubicBezTo>
                <a:cubicBezTo>
                  <a:pt x="30" y="71"/>
                  <a:pt x="42" y="79"/>
                  <a:pt x="49" y="83"/>
                </a:cubicBezTo>
                <a:cubicBezTo>
                  <a:pt x="51" y="84"/>
                  <a:pt x="52" y="85"/>
                  <a:pt x="54" y="85"/>
                </a:cubicBezTo>
                <a:cubicBezTo>
                  <a:pt x="55" y="85"/>
                  <a:pt x="57" y="84"/>
                  <a:pt x="58" y="83"/>
                </a:cubicBezTo>
                <a:cubicBezTo>
                  <a:pt x="65" y="79"/>
                  <a:pt x="77" y="71"/>
                  <a:pt x="81" y="65"/>
                </a:cubicBezTo>
                <a:cubicBezTo>
                  <a:pt x="83" y="64"/>
                  <a:pt x="86" y="46"/>
                  <a:pt x="87" y="27"/>
                </a:cubicBezTo>
                <a:cubicBezTo>
                  <a:pt x="87" y="26"/>
                  <a:pt x="87" y="26"/>
                  <a:pt x="87" y="26"/>
                </a:cubicBezTo>
                <a:cubicBezTo>
                  <a:pt x="87" y="25"/>
                  <a:pt x="86" y="23"/>
                  <a:pt x="84" y="22"/>
                </a:cubicBezTo>
                <a:cubicBezTo>
                  <a:pt x="76" y="20"/>
                  <a:pt x="63" y="19"/>
                  <a:pt x="54" y="19"/>
                </a:cubicBezTo>
                <a:cubicBezTo>
                  <a:pt x="44" y="19"/>
                  <a:pt x="31" y="20"/>
                  <a:pt x="23" y="22"/>
                </a:cubicBezTo>
                <a:cubicBezTo>
                  <a:pt x="21" y="23"/>
                  <a:pt x="20" y="25"/>
                  <a:pt x="20" y="26"/>
                </a:cubicBezTo>
                <a:close/>
                <a:moveTo>
                  <a:pt x="0" y="14"/>
                </a:moveTo>
                <a:cubicBezTo>
                  <a:pt x="0" y="14"/>
                  <a:pt x="0" y="14"/>
                  <a:pt x="0" y="14"/>
                </a:cubicBezTo>
                <a:cubicBezTo>
                  <a:pt x="1" y="45"/>
                  <a:pt x="6" y="73"/>
                  <a:pt x="9" y="76"/>
                </a:cubicBezTo>
                <a:cubicBezTo>
                  <a:pt x="15" y="84"/>
                  <a:pt x="35" y="97"/>
                  <a:pt x="46" y="104"/>
                </a:cubicBezTo>
                <a:cubicBezTo>
                  <a:pt x="49" y="105"/>
                  <a:pt x="51" y="107"/>
                  <a:pt x="54" y="107"/>
                </a:cubicBezTo>
                <a:cubicBezTo>
                  <a:pt x="56" y="107"/>
                  <a:pt x="59" y="105"/>
                  <a:pt x="61" y="104"/>
                </a:cubicBezTo>
                <a:cubicBezTo>
                  <a:pt x="72" y="97"/>
                  <a:pt x="92" y="84"/>
                  <a:pt x="98" y="76"/>
                </a:cubicBezTo>
                <a:cubicBezTo>
                  <a:pt x="101" y="73"/>
                  <a:pt x="106" y="45"/>
                  <a:pt x="107" y="14"/>
                </a:cubicBezTo>
                <a:cubicBezTo>
                  <a:pt x="107" y="14"/>
                  <a:pt x="107" y="14"/>
                  <a:pt x="107" y="14"/>
                </a:cubicBezTo>
                <a:cubicBezTo>
                  <a:pt x="107" y="11"/>
                  <a:pt x="105" y="8"/>
                  <a:pt x="102" y="7"/>
                </a:cubicBezTo>
                <a:cubicBezTo>
                  <a:pt x="89" y="3"/>
                  <a:pt x="70" y="0"/>
                  <a:pt x="54" y="0"/>
                </a:cubicBezTo>
                <a:cubicBezTo>
                  <a:pt x="38" y="0"/>
                  <a:pt x="18" y="3"/>
                  <a:pt x="5" y="7"/>
                </a:cubicBezTo>
                <a:cubicBezTo>
                  <a:pt x="2" y="8"/>
                  <a:pt x="0" y="11"/>
                  <a:pt x="0" y="14"/>
                </a:cubicBezTo>
                <a:close/>
                <a:moveTo>
                  <a:pt x="11" y="21"/>
                </a:moveTo>
                <a:cubicBezTo>
                  <a:pt x="11" y="19"/>
                  <a:pt x="13" y="17"/>
                  <a:pt x="15" y="16"/>
                </a:cubicBezTo>
                <a:cubicBezTo>
                  <a:pt x="25" y="12"/>
                  <a:pt x="41" y="11"/>
                  <a:pt x="54" y="11"/>
                </a:cubicBezTo>
                <a:cubicBezTo>
                  <a:pt x="66" y="11"/>
                  <a:pt x="82" y="12"/>
                  <a:pt x="92" y="16"/>
                </a:cubicBezTo>
                <a:cubicBezTo>
                  <a:pt x="95" y="17"/>
                  <a:pt x="96" y="19"/>
                  <a:pt x="96" y="21"/>
                </a:cubicBezTo>
                <a:cubicBezTo>
                  <a:pt x="96" y="21"/>
                  <a:pt x="96" y="21"/>
                  <a:pt x="96" y="21"/>
                </a:cubicBezTo>
                <a:cubicBezTo>
                  <a:pt x="95" y="46"/>
                  <a:pt x="91" y="68"/>
                  <a:pt x="89" y="71"/>
                </a:cubicBezTo>
                <a:cubicBezTo>
                  <a:pt x="84" y="77"/>
                  <a:pt x="68" y="88"/>
                  <a:pt x="60" y="93"/>
                </a:cubicBezTo>
                <a:cubicBezTo>
                  <a:pt x="57" y="94"/>
                  <a:pt x="56" y="95"/>
                  <a:pt x="54" y="95"/>
                </a:cubicBezTo>
                <a:cubicBezTo>
                  <a:pt x="51" y="95"/>
                  <a:pt x="50" y="94"/>
                  <a:pt x="48" y="93"/>
                </a:cubicBezTo>
                <a:cubicBezTo>
                  <a:pt x="39" y="88"/>
                  <a:pt x="23" y="77"/>
                  <a:pt x="18" y="71"/>
                </a:cubicBezTo>
                <a:cubicBezTo>
                  <a:pt x="16" y="68"/>
                  <a:pt x="12" y="46"/>
                  <a:pt x="11" y="2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58">
            <a:extLst>
              <a:ext uri="{FF2B5EF4-FFF2-40B4-BE49-F238E27FC236}">
                <a16:creationId xmlns:a16="http://schemas.microsoft.com/office/drawing/2014/main" id="{FD85C749-F7B3-A2F2-2273-74FBC85A225B}"/>
              </a:ext>
            </a:extLst>
          </p:cNvPr>
          <p:cNvSpPr>
            <a:spLocks noEditPoints="1"/>
          </p:cNvSpPr>
          <p:nvPr/>
        </p:nvSpPr>
        <p:spPr bwMode="auto">
          <a:xfrm>
            <a:off x="4156478" y="3552048"/>
            <a:ext cx="494491" cy="490504"/>
          </a:xfrm>
          <a:custGeom>
            <a:avLst/>
            <a:gdLst>
              <a:gd name="T0" fmla="*/ 52 w 105"/>
              <a:gd name="T1" fmla="*/ 47 h 104"/>
              <a:gd name="T2" fmla="*/ 52 w 105"/>
              <a:gd name="T3" fmla="*/ 58 h 104"/>
              <a:gd name="T4" fmla="*/ 52 w 105"/>
              <a:gd name="T5" fmla="*/ 38 h 104"/>
              <a:gd name="T6" fmla="*/ 52 w 105"/>
              <a:gd name="T7" fmla="*/ 67 h 104"/>
              <a:gd name="T8" fmla="*/ 52 w 105"/>
              <a:gd name="T9" fmla="*/ 38 h 104"/>
              <a:gd name="T10" fmla="*/ 19 w 105"/>
              <a:gd name="T11" fmla="*/ 71 h 104"/>
              <a:gd name="T12" fmla="*/ 12 w 105"/>
              <a:gd name="T13" fmla="*/ 85 h 104"/>
              <a:gd name="T14" fmla="*/ 26 w 105"/>
              <a:gd name="T15" fmla="*/ 93 h 104"/>
              <a:gd name="T16" fmla="*/ 42 w 105"/>
              <a:gd name="T17" fmla="*/ 90 h 104"/>
              <a:gd name="T18" fmla="*/ 47 w 105"/>
              <a:gd name="T19" fmla="*/ 104 h 104"/>
              <a:gd name="T20" fmla="*/ 62 w 105"/>
              <a:gd name="T21" fmla="*/ 99 h 104"/>
              <a:gd name="T22" fmla="*/ 72 w 105"/>
              <a:gd name="T23" fmla="*/ 86 h 104"/>
              <a:gd name="T24" fmla="*/ 86 w 105"/>
              <a:gd name="T25" fmla="*/ 93 h 104"/>
              <a:gd name="T26" fmla="*/ 93 w 105"/>
              <a:gd name="T27" fmla="*/ 79 h 104"/>
              <a:gd name="T28" fmla="*/ 90 w 105"/>
              <a:gd name="T29" fmla="*/ 63 h 104"/>
              <a:gd name="T30" fmla="*/ 105 w 105"/>
              <a:gd name="T31" fmla="*/ 57 h 104"/>
              <a:gd name="T32" fmla="*/ 100 w 105"/>
              <a:gd name="T33" fmla="*/ 42 h 104"/>
              <a:gd name="T34" fmla="*/ 86 w 105"/>
              <a:gd name="T35" fmla="*/ 33 h 104"/>
              <a:gd name="T36" fmla="*/ 93 w 105"/>
              <a:gd name="T37" fmla="*/ 19 h 104"/>
              <a:gd name="T38" fmla="*/ 79 w 105"/>
              <a:gd name="T39" fmla="*/ 12 h 104"/>
              <a:gd name="T40" fmla="*/ 63 w 105"/>
              <a:gd name="T41" fmla="*/ 15 h 104"/>
              <a:gd name="T42" fmla="*/ 58 w 105"/>
              <a:gd name="T43" fmla="*/ 0 h 104"/>
              <a:gd name="T44" fmla="*/ 42 w 105"/>
              <a:gd name="T45" fmla="*/ 5 h 104"/>
              <a:gd name="T46" fmla="*/ 33 w 105"/>
              <a:gd name="T47" fmla="*/ 18 h 104"/>
              <a:gd name="T48" fmla="*/ 19 w 105"/>
              <a:gd name="T49" fmla="*/ 12 h 104"/>
              <a:gd name="T50" fmla="*/ 12 w 105"/>
              <a:gd name="T51" fmla="*/ 26 h 104"/>
              <a:gd name="T52" fmla="*/ 15 w 105"/>
              <a:gd name="T53" fmla="*/ 42 h 104"/>
              <a:gd name="T54" fmla="*/ 0 w 105"/>
              <a:gd name="T55" fmla="*/ 47 h 104"/>
              <a:gd name="T56" fmla="*/ 5 w 105"/>
              <a:gd name="T57" fmla="*/ 62 h 104"/>
              <a:gd name="T58" fmla="*/ 52 w 105"/>
              <a:gd name="T59" fmla="*/ 29 h 104"/>
              <a:gd name="T60" fmla="*/ 52 w 105"/>
              <a:gd name="T61" fmla="*/ 76 h 104"/>
              <a:gd name="T62" fmla="*/ 52 w 105"/>
              <a:gd name="T63" fmla="*/ 29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05" h="104">
                <a:moveTo>
                  <a:pt x="47" y="52"/>
                </a:moveTo>
                <a:cubicBezTo>
                  <a:pt x="47" y="49"/>
                  <a:pt x="49" y="47"/>
                  <a:pt x="52" y="47"/>
                </a:cubicBezTo>
                <a:cubicBezTo>
                  <a:pt x="56" y="47"/>
                  <a:pt x="58" y="49"/>
                  <a:pt x="58" y="52"/>
                </a:cubicBezTo>
                <a:cubicBezTo>
                  <a:pt x="58" y="55"/>
                  <a:pt x="56" y="58"/>
                  <a:pt x="52" y="58"/>
                </a:cubicBezTo>
                <a:cubicBezTo>
                  <a:pt x="49" y="58"/>
                  <a:pt x="47" y="55"/>
                  <a:pt x="47" y="52"/>
                </a:cubicBezTo>
                <a:close/>
                <a:moveTo>
                  <a:pt x="52" y="38"/>
                </a:moveTo>
                <a:cubicBezTo>
                  <a:pt x="44" y="38"/>
                  <a:pt x="38" y="44"/>
                  <a:pt x="38" y="52"/>
                </a:cubicBezTo>
                <a:cubicBezTo>
                  <a:pt x="38" y="60"/>
                  <a:pt x="44" y="67"/>
                  <a:pt x="52" y="67"/>
                </a:cubicBezTo>
                <a:cubicBezTo>
                  <a:pt x="60" y="67"/>
                  <a:pt x="67" y="60"/>
                  <a:pt x="67" y="52"/>
                </a:cubicBezTo>
                <a:cubicBezTo>
                  <a:pt x="67" y="44"/>
                  <a:pt x="60" y="38"/>
                  <a:pt x="52" y="38"/>
                </a:cubicBezTo>
                <a:close/>
                <a:moveTo>
                  <a:pt x="15" y="63"/>
                </a:moveTo>
                <a:cubicBezTo>
                  <a:pt x="16" y="66"/>
                  <a:pt x="17" y="69"/>
                  <a:pt x="19" y="71"/>
                </a:cubicBezTo>
                <a:cubicBezTo>
                  <a:pt x="12" y="79"/>
                  <a:pt x="12" y="79"/>
                  <a:pt x="12" y="79"/>
                </a:cubicBezTo>
                <a:cubicBezTo>
                  <a:pt x="10" y="80"/>
                  <a:pt x="10" y="84"/>
                  <a:pt x="12" y="85"/>
                </a:cubicBezTo>
                <a:cubicBezTo>
                  <a:pt x="19" y="93"/>
                  <a:pt x="19" y="93"/>
                  <a:pt x="19" y="93"/>
                </a:cubicBezTo>
                <a:cubicBezTo>
                  <a:pt x="21" y="95"/>
                  <a:pt x="24" y="95"/>
                  <a:pt x="26" y="93"/>
                </a:cubicBezTo>
                <a:cubicBezTo>
                  <a:pt x="33" y="86"/>
                  <a:pt x="33" y="86"/>
                  <a:pt x="33" y="86"/>
                </a:cubicBezTo>
                <a:cubicBezTo>
                  <a:pt x="36" y="88"/>
                  <a:pt x="39" y="89"/>
                  <a:pt x="42" y="90"/>
                </a:cubicBezTo>
                <a:cubicBezTo>
                  <a:pt x="42" y="99"/>
                  <a:pt x="42" y="99"/>
                  <a:pt x="42" y="99"/>
                </a:cubicBezTo>
                <a:cubicBezTo>
                  <a:pt x="42" y="102"/>
                  <a:pt x="45" y="104"/>
                  <a:pt x="47" y="104"/>
                </a:cubicBezTo>
                <a:cubicBezTo>
                  <a:pt x="58" y="104"/>
                  <a:pt x="58" y="104"/>
                  <a:pt x="58" y="104"/>
                </a:cubicBezTo>
                <a:cubicBezTo>
                  <a:pt x="60" y="104"/>
                  <a:pt x="62" y="102"/>
                  <a:pt x="62" y="99"/>
                </a:cubicBezTo>
                <a:cubicBezTo>
                  <a:pt x="63" y="90"/>
                  <a:pt x="63" y="90"/>
                  <a:pt x="63" y="90"/>
                </a:cubicBezTo>
                <a:cubicBezTo>
                  <a:pt x="66" y="89"/>
                  <a:pt x="69" y="88"/>
                  <a:pt x="72" y="86"/>
                </a:cubicBezTo>
                <a:cubicBezTo>
                  <a:pt x="79" y="93"/>
                  <a:pt x="79" y="93"/>
                  <a:pt x="79" y="93"/>
                </a:cubicBezTo>
                <a:cubicBezTo>
                  <a:pt x="81" y="95"/>
                  <a:pt x="84" y="95"/>
                  <a:pt x="86" y="93"/>
                </a:cubicBezTo>
                <a:cubicBezTo>
                  <a:pt x="93" y="85"/>
                  <a:pt x="93" y="85"/>
                  <a:pt x="93" y="85"/>
                </a:cubicBezTo>
                <a:cubicBezTo>
                  <a:pt x="95" y="84"/>
                  <a:pt x="95" y="80"/>
                  <a:pt x="93" y="79"/>
                </a:cubicBezTo>
                <a:cubicBezTo>
                  <a:pt x="86" y="71"/>
                  <a:pt x="86" y="71"/>
                  <a:pt x="86" y="71"/>
                </a:cubicBezTo>
                <a:cubicBezTo>
                  <a:pt x="88" y="69"/>
                  <a:pt x="89" y="66"/>
                  <a:pt x="90" y="63"/>
                </a:cubicBezTo>
                <a:cubicBezTo>
                  <a:pt x="100" y="62"/>
                  <a:pt x="100" y="62"/>
                  <a:pt x="100" y="62"/>
                </a:cubicBezTo>
                <a:cubicBezTo>
                  <a:pt x="102" y="62"/>
                  <a:pt x="105" y="60"/>
                  <a:pt x="105" y="57"/>
                </a:cubicBezTo>
                <a:cubicBezTo>
                  <a:pt x="105" y="47"/>
                  <a:pt x="105" y="47"/>
                  <a:pt x="105" y="47"/>
                </a:cubicBezTo>
                <a:cubicBezTo>
                  <a:pt x="105" y="44"/>
                  <a:pt x="102" y="42"/>
                  <a:pt x="100" y="42"/>
                </a:cubicBezTo>
                <a:cubicBezTo>
                  <a:pt x="90" y="42"/>
                  <a:pt x="90" y="42"/>
                  <a:pt x="90" y="42"/>
                </a:cubicBezTo>
                <a:cubicBezTo>
                  <a:pt x="89" y="39"/>
                  <a:pt x="88" y="36"/>
                  <a:pt x="86" y="33"/>
                </a:cubicBezTo>
                <a:cubicBezTo>
                  <a:pt x="93" y="26"/>
                  <a:pt x="93" y="26"/>
                  <a:pt x="93" y="26"/>
                </a:cubicBezTo>
                <a:cubicBezTo>
                  <a:pt x="95" y="24"/>
                  <a:pt x="95" y="21"/>
                  <a:pt x="93" y="19"/>
                </a:cubicBezTo>
                <a:cubicBezTo>
                  <a:pt x="86" y="12"/>
                  <a:pt x="86" y="12"/>
                  <a:pt x="86" y="12"/>
                </a:cubicBezTo>
                <a:cubicBezTo>
                  <a:pt x="84" y="10"/>
                  <a:pt x="81" y="10"/>
                  <a:pt x="79" y="12"/>
                </a:cubicBezTo>
                <a:cubicBezTo>
                  <a:pt x="72" y="18"/>
                  <a:pt x="72" y="18"/>
                  <a:pt x="72" y="18"/>
                </a:cubicBezTo>
                <a:cubicBezTo>
                  <a:pt x="69" y="17"/>
                  <a:pt x="66" y="16"/>
                  <a:pt x="63" y="15"/>
                </a:cubicBezTo>
                <a:cubicBezTo>
                  <a:pt x="62" y="5"/>
                  <a:pt x="62" y="5"/>
                  <a:pt x="62" y="5"/>
                </a:cubicBezTo>
                <a:cubicBezTo>
                  <a:pt x="62" y="2"/>
                  <a:pt x="60" y="0"/>
                  <a:pt x="58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45" y="0"/>
                  <a:pt x="42" y="2"/>
                  <a:pt x="42" y="5"/>
                </a:cubicBezTo>
                <a:cubicBezTo>
                  <a:pt x="42" y="15"/>
                  <a:pt x="42" y="15"/>
                  <a:pt x="42" y="15"/>
                </a:cubicBezTo>
                <a:cubicBezTo>
                  <a:pt x="39" y="16"/>
                  <a:pt x="36" y="17"/>
                  <a:pt x="33" y="18"/>
                </a:cubicBezTo>
                <a:cubicBezTo>
                  <a:pt x="26" y="12"/>
                  <a:pt x="26" y="12"/>
                  <a:pt x="26" y="12"/>
                </a:cubicBezTo>
                <a:cubicBezTo>
                  <a:pt x="24" y="10"/>
                  <a:pt x="21" y="10"/>
                  <a:pt x="19" y="12"/>
                </a:cubicBezTo>
                <a:cubicBezTo>
                  <a:pt x="12" y="19"/>
                  <a:pt x="12" y="19"/>
                  <a:pt x="12" y="19"/>
                </a:cubicBezTo>
                <a:cubicBezTo>
                  <a:pt x="10" y="21"/>
                  <a:pt x="10" y="24"/>
                  <a:pt x="12" y="26"/>
                </a:cubicBezTo>
                <a:cubicBezTo>
                  <a:pt x="19" y="33"/>
                  <a:pt x="19" y="33"/>
                  <a:pt x="19" y="33"/>
                </a:cubicBezTo>
                <a:cubicBezTo>
                  <a:pt x="17" y="36"/>
                  <a:pt x="16" y="39"/>
                  <a:pt x="15" y="42"/>
                </a:cubicBezTo>
                <a:cubicBezTo>
                  <a:pt x="5" y="42"/>
                  <a:pt x="5" y="42"/>
                  <a:pt x="5" y="42"/>
                </a:cubicBezTo>
                <a:cubicBezTo>
                  <a:pt x="3" y="42"/>
                  <a:pt x="0" y="44"/>
                  <a:pt x="0" y="47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60"/>
                  <a:pt x="3" y="62"/>
                  <a:pt x="5" y="62"/>
                </a:cubicBezTo>
                <a:lnTo>
                  <a:pt x="15" y="63"/>
                </a:lnTo>
                <a:close/>
                <a:moveTo>
                  <a:pt x="52" y="29"/>
                </a:moveTo>
                <a:cubicBezTo>
                  <a:pt x="65" y="29"/>
                  <a:pt x="76" y="39"/>
                  <a:pt x="76" y="52"/>
                </a:cubicBezTo>
                <a:cubicBezTo>
                  <a:pt x="76" y="65"/>
                  <a:pt x="65" y="76"/>
                  <a:pt x="52" y="76"/>
                </a:cubicBezTo>
                <a:cubicBezTo>
                  <a:pt x="40" y="76"/>
                  <a:pt x="29" y="65"/>
                  <a:pt x="29" y="52"/>
                </a:cubicBezTo>
                <a:cubicBezTo>
                  <a:pt x="29" y="39"/>
                  <a:pt x="40" y="29"/>
                  <a:pt x="52" y="2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16">
            <a:extLst>
              <a:ext uri="{FF2B5EF4-FFF2-40B4-BE49-F238E27FC236}">
                <a16:creationId xmlns:a16="http://schemas.microsoft.com/office/drawing/2014/main" id="{0B0F53F5-B94C-B40C-07E5-152C82D7B684}"/>
              </a:ext>
            </a:extLst>
          </p:cNvPr>
          <p:cNvSpPr>
            <a:spLocks noEditPoints="1"/>
          </p:cNvSpPr>
          <p:nvPr/>
        </p:nvSpPr>
        <p:spPr bwMode="auto">
          <a:xfrm>
            <a:off x="10810846" y="3556265"/>
            <a:ext cx="444555" cy="482070"/>
          </a:xfrm>
          <a:custGeom>
            <a:avLst/>
            <a:gdLst>
              <a:gd name="T0" fmla="*/ 11 w 100"/>
              <a:gd name="T1" fmla="*/ 77 h 106"/>
              <a:gd name="T2" fmla="*/ 31 w 100"/>
              <a:gd name="T3" fmla="*/ 71 h 106"/>
              <a:gd name="T4" fmla="*/ 72 w 100"/>
              <a:gd name="T5" fmla="*/ 82 h 106"/>
              <a:gd name="T6" fmla="*/ 97 w 100"/>
              <a:gd name="T7" fmla="*/ 72 h 106"/>
              <a:gd name="T8" fmla="*/ 100 w 100"/>
              <a:gd name="T9" fmla="*/ 66 h 106"/>
              <a:gd name="T10" fmla="*/ 100 w 100"/>
              <a:gd name="T11" fmla="*/ 12 h 106"/>
              <a:gd name="T12" fmla="*/ 95 w 100"/>
              <a:gd name="T13" fmla="*/ 7 h 106"/>
              <a:gd name="T14" fmla="*/ 90 w 100"/>
              <a:gd name="T15" fmla="*/ 9 h 106"/>
              <a:gd name="T16" fmla="*/ 70 w 100"/>
              <a:gd name="T17" fmla="*/ 15 h 106"/>
              <a:gd name="T18" fmla="*/ 32 w 100"/>
              <a:gd name="T19" fmla="*/ 4 h 106"/>
              <a:gd name="T20" fmla="*/ 11 w 100"/>
              <a:gd name="T21" fmla="*/ 9 h 106"/>
              <a:gd name="T22" fmla="*/ 11 w 100"/>
              <a:gd name="T23" fmla="*/ 5 h 106"/>
              <a:gd name="T24" fmla="*/ 5 w 100"/>
              <a:gd name="T25" fmla="*/ 0 h 106"/>
              <a:gd name="T26" fmla="*/ 0 w 100"/>
              <a:gd name="T27" fmla="*/ 5 h 106"/>
              <a:gd name="T28" fmla="*/ 0 w 100"/>
              <a:gd name="T29" fmla="*/ 101 h 106"/>
              <a:gd name="T30" fmla="*/ 5 w 100"/>
              <a:gd name="T31" fmla="*/ 106 h 106"/>
              <a:gd name="T32" fmla="*/ 11 w 100"/>
              <a:gd name="T33" fmla="*/ 101 h 106"/>
              <a:gd name="T34" fmla="*/ 11 w 100"/>
              <a:gd name="T35" fmla="*/ 77 h 106"/>
              <a:gd name="T36" fmla="*/ 20 w 100"/>
              <a:gd name="T37" fmla="*/ 22 h 106"/>
              <a:gd name="T38" fmla="*/ 20 w 100"/>
              <a:gd name="T39" fmla="*/ 57 h 106"/>
              <a:gd name="T40" fmla="*/ 15 w 100"/>
              <a:gd name="T41" fmla="*/ 62 h 106"/>
              <a:gd name="T42" fmla="*/ 11 w 100"/>
              <a:gd name="T43" fmla="*/ 57 h 106"/>
              <a:gd name="T44" fmla="*/ 11 w 100"/>
              <a:gd name="T45" fmla="*/ 22 h 106"/>
              <a:gd name="T46" fmla="*/ 15 w 100"/>
              <a:gd name="T47" fmla="*/ 17 h 106"/>
              <a:gd name="T48" fmla="*/ 20 w 100"/>
              <a:gd name="T49" fmla="*/ 22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00" h="106">
                <a:moveTo>
                  <a:pt x="11" y="77"/>
                </a:moveTo>
                <a:cubicBezTo>
                  <a:pt x="11" y="77"/>
                  <a:pt x="17" y="71"/>
                  <a:pt x="31" y="71"/>
                </a:cubicBezTo>
                <a:cubicBezTo>
                  <a:pt x="46" y="71"/>
                  <a:pt x="59" y="82"/>
                  <a:pt x="72" y="82"/>
                </a:cubicBezTo>
                <a:cubicBezTo>
                  <a:pt x="84" y="82"/>
                  <a:pt x="92" y="77"/>
                  <a:pt x="97" y="72"/>
                </a:cubicBezTo>
                <a:cubicBezTo>
                  <a:pt x="98" y="71"/>
                  <a:pt x="100" y="68"/>
                  <a:pt x="100" y="66"/>
                </a:cubicBezTo>
                <a:cubicBezTo>
                  <a:pt x="100" y="12"/>
                  <a:pt x="100" y="12"/>
                  <a:pt x="100" y="12"/>
                </a:cubicBezTo>
                <a:cubicBezTo>
                  <a:pt x="100" y="9"/>
                  <a:pt x="98" y="7"/>
                  <a:pt x="95" y="7"/>
                </a:cubicBezTo>
                <a:cubicBezTo>
                  <a:pt x="93" y="7"/>
                  <a:pt x="92" y="8"/>
                  <a:pt x="90" y="9"/>
                </a:cubicBezTo>
                <a:cubicBezTo>
                  <a:pt x="88" y="11"/>
                  <a:pt x="83" y="15"/>
                  <a:pt x="70" y="15"/>
                </a:cubicBezTo>
                <a:cubicBezTo>
                  <a:pt x="58" y="15"/>
                  <a:pt x="48" y="4"/>
                  <a:pt x="32" y="4"/>
                </a:cubicBezTo>
                <a:cubicBezTo>
                  <a:pt x="17" y="4"/>
                  <a:pt x="11" y="9"/>
                  <a:pt x="11" y="9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8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101"/>
                  <a:pt x="0" y="101"/>
                  <a:pt x="0" y="101"/>
                </a:cubicBezTo>
                <a:cubicBezTo>
                  <a:pt x="0" y="104"/>
                  <a:pt x="2" y="106"/>
                  <a:pt x="5" y="106"/>
                </a:cubicBezTo>
                <a:cubicBezTo>
                  <a:pt x="8" y="106"/>
                  <a:pt x="11" y="104"/>
                  <a:pt x="11" y="101"/>
                </a:cubicBezTo>
                <a:lnTo>
                  <a:pt x="11" y="77"/>
                </a:lnTo>
                <a:close/>
                <a:moveTo>
                  <a:pt x="20" y="22"/>
                </a:moveTo>
                <a:cubicBezTo>
                  <a:pt x="20" y="57"/>
                  <a:pt x="20" y="57"/>
                  <a:pt x="20" y="57"/>
                </a:cubicBezTo>
                <a:cubicBezTo>
                  <a:pt x="20" y="60"/>
                  <a:pt x="18" y="62"/>
                  <a:pt x="15" y="62"/>
                </a:cubicBezTo>
                <a:cubicBezTo>
                  <a:pt x="13" y="62"/>
                  <a:pt x="11" y="60"/>
                  <a:pt x="11" y="57"/>
                </a:cubicBezTo>
                <a:cubicBezTo>
                  <a:pt x="11" y="22"/>
                  <a:pt x="11" y="22"/>
                  <a:pt x="11" y="22"/>
                </a:cubicBezTo>
                <a:cubicBezTo>
                  <a:pt x="11" y="19"/>
                  <a:pt x="13" y="17"/>
                  <a:pt x="15" y="17"/>
                </a:cubicBezTo>
                <a:cubicBezTo>
                  <a:pt x="18" y="17"/>
                  <a:pt x="20" y="19"/>
                  <a:pt x="20" y="2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5">
            <a:extLst>
              <a:ext uri="{FF2B5EF4-FFF2-40B4-BE49-F238E27FC236}">
                <a16:creationId xmlns:a16="http://schemas.microsoft.com/office/drawing/2014/main" id="{66EF0035-D94E-C3DD-9DEA-34EAAADB2CAB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6374018" y="3596785"/>
            <a:ext cx="479010" cy="401031"/>
          </a:xfrm>
          <a:custGeom>
            <a:avLst/>
            <a:gdLst>
              <a:gd name="T0" fmla="*/ 97 w 106"/>
              <a:gd name="T1" fmla="*/ 74 h 89"/>
              <a:gd name="T2" fmla="*/ 106 w 106"/>
              <a:gd name="T3" fmla="*/ 65 h 89"/>
              <a:gd name="T4" fmla="*/ 106 w 106"/>
              <a:gd name="T5" fmla="*/ 9 h 89"/>
              <a:gd name="T6" fmla="*/ 97 w 106"/>
              <a:gd name="T7" fmla="*/ 0 h 89"/>
              <a:gd name="T8" fmla="*/ 48 w 106"/>
              <a:gd name="T9" fmla="*/ 0 h 89"/>
              <a:gd name="T10" fmla="*/ 39 w 106"/>
              <a:gd name="T11" fmla="*/ 9 h 89"/>
              <a:gd name="T12" fmla="*/ 39 w 106"/>
              <a:gd name="T13" fmla="*/ 18 h 89"/>
              <a:gd name="T14" fmla="*/ 26 w 106"/>
              <a:gd name="T15" fmla="*/ 18 h 89"/>
              <a:gd name="T16" fmla="*/ 18 w 106"/>
              <a:gd name="T17" fmla="*/ 21 h 89"/>
              <a:gd name="T18" fmla="*/ 7 w 106"/>
              <a:gd name="T19" fmla="*/ 33 h 89"/>
              <a:gd name="T20" fmla="*/ 4 w 106"/>
              <a:gd name="T21" fmla="*/ 40 h 89"/>
              <a:gd name="T22" fmla="*/ 4 w 106"/>
              <a:gd name="T23" fmla="*/ 63 h 89"/>
              <a:gd name="T24" fmla="*/ 0 w 106"/>
              <a:gd name="T25" fmla="*/ 68 h 89"/>
              <a:gd name="T26" fmla="*/ 5 w 106"/>
              <a:gd name="T27" fmla="*/ 74 h 89"/>
              <a:gd name="T28" fmla="*/ 13 w 106"/>
              <a:gd name="T29" fmla="*/ 74 h 89"/>
              <a:gd name="T30" fmla="*/ 29 w 106"/>
              <a:gd name="T31" fmla="*/ 89 h 89"/>
              <a:gd name="T32" fmla="*/ 46 w 106"/>
              <a:gd name="T33" fmla="*/ 74 h 89"/>
              <a:gd name="T34" fmla="*/ 62 w 106"/>
              <a:gd name="T35" fmla="*/ 74 h 89"/>
              <a:gd name="T36" fmla="*/ 78 w 106"/>
              <a:gd name="T37" fmla="*/ 89 h 89"/>
              <a:gd name="T38" fmla="*/ 95 w 106"/>
              <a:gd name="T39" fmla="*/ 74 h 89"/>
              <a:gd name="T40" fmla="*/ 97 w 106"/>
              <a:gd name="T41" fmla="*/ 74 h 89"/>
              <a:gd name="T42" fmla="*/ 35 w 106"/>
              <a:gd name="T43" fmla="*/ 73 h 89"/>
              <a:gd name="T44" fmla="*/ 29 w 106"/>
              <a:gd name="T45" fmla="*/ 78 h 89"/>
              <a:gd name="T46" fmla="*/ 24 w 106"/>
              <a:gd name="T47" fmla="*/ 73 h 89"/>
              <a:gd name="T48" fmla="*/ 29 w 106"/>
              <a:gd name="T49" fmla="*/ 67 h 89"/>
              <a:gd name="T50" fmla="*/ 35 w 106"/>
              <a:gd name="T51" fmla="*/ 73 h 89"/>
              <a:gd name="T52" fmla="*/ 84 w 106"/>
              <a:gd name="T53" fmla="*/ 73 h 89"/>
              <a:gd name="T54" fmla="*/ 78 w 106"/>
              <a:gd name="T55" fmla="*/ 78 h 89"/>
              <a:gd name="T56" fmla="*/ 73 w 106"/>
              <a:gd name="T57" fmla="*/ 73 h 89"/>
              <a:gd name="T58" fmla="*/ 78 w 106"/>
              <a:gd name="T59" fmla="*/ 67 h 89"/>
              <a:gd name="T60" fmla="*/ 84 w 106"/>
              <a:gd name="T61" fmla="*/ 73 h 89"/>
              <a:gd name="T62" fmla="*/ 15 w 106"/>
              <a:gd name="T63" fmla="*/ 47 h 89"/>
              <a:gd name="T64" fmla="*/ 15 w 106"/>
              <a:gd name="T65" fmla="*/ 41 h 89"/>
              <a:gd name="T66" fmla="*/ 18 w 106"/>
              <a:gd name="T67" fmla="*/ 37 h 89"/>
              <a:gd name="T68" fmla="*/ 22 w 106"/>
              <a:gd name="T69" fmla="*/ 32 h 89"/>
              <a:gd name="T70" fmla="*/ 27 w 106"/>
              <a:gd name="T71" fmla="*/ 29 h 89"/>
              <a:gd name="T72" fmla="*/ 39 w 106"/>
              <a:gd name="T73" fmla="*/ 29 h 89"/>
              <a:gd name="T74" fmla="*/ 39 w 106"/>
              <a:gd name="T75" fmla="*/ 47 h 89"/>
              <a:gd name="T76" fmla="*/ 15 w 106"/>
              <a:gd name="T77" fmla="*/ 47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06" h="89">
                <a:moveTo>
                  <a:pt x="97" y="74"/>
                </a:moveTo>
                <a:cubicBezTo>
                  <a:pt x="102" y="74"/>
                  <a:pt x="106" y="70"/>
                  <a:pt x="106" y="65"/>
                </a:cubicBezTo>
                <a:cubicBezTo>
                  <a:pt x="106" y="9"/>
                  <a:pt x="106" y="9"/>
                  <a:pt x="106" y="9"/>
                </a:cubicBezTo>
                <a:cubicBezTo>
                  <a:pt x="106" y="4"/>
                  <a:pt x="102" y="0"/>
                  <a:pt x="97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43" y="0"/>
                  <a:pt x="39" y="4"/>
                  <a:pt x="39" y="9"/>
                </a:cubicBezTo>
                <a:cubicBezTo>
                  <a:pt x="39" y="18"/>
                  <a:pt x="39" y="18"/>
                  <a:pt x="3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3" y="18"/>
                  <a:pt x="20" y="19"/>
                  <a:pt x="18" y="21"/>
                </a:cubicBezTo>
                <a:cubicBezTo>
                  <a:pt x="7" y="33"/>
                  <a:pt x="7" y="33"/>
                  <a:pt x="7" y="33"/>
                </a:cubicBezTo>
                <a:cubicBezTo>
                  <a:pt x="5" y="35"/>
                  <a:pt x="4" y="37"/>
                  <a:pt x="4" y="40"/>
                </a:cubicBezTo>
                <a:cubicBezTo>
                  <a:pt x="4" y="63"/>
                  <a:pt x="4" y="63"/>
                  <a:pt x="4" y="63"/>
                </a:cubicBezTo>
                <a:cubicBezTo>
                  <a:pt x="1" y="63"/>
                  <a:pt x="0" y="65"/>
                  <a:pt x="0" y="68"/>
                </a:cubicBezTo>
                <a:cubicBezTo>
                  <a:pt x="0" y="71"/>
                  <a:pt x="2" y="74"/>
                  <a:pt x="5" y="74"/>
                </a:cubicBezTo>
                <a:cubicBezTo>
                  <a:pt x="13" y="74"/>
                  <a:pt x="13" y="74"/>
                  <a:pt x="13" y="74"/>
                </a:cubicBezTo>
                <a:cubicBezTo>
                  <a:pt x="13" y="82"/>
                  <a:pt x="21" y="89"/>
                  <a:pt x="29" y="89"/>
                </a:cubicBezTo>
                <a:cubicBezTo>
                  <a:pt x="38" y="89"/>
                  <a:pt x="46" y="82"/>
                  <a:pt x="46" y="74"/>
                </a:cubicBezTo>
                <a:cubicBezTo>
                  <a:pt x="62" y="74"/>
                  <a:pt x="62" y="74"/>
                  <a:pt x="62" y="74"/>
                </a:cubicBezTo>
                <a:cubicBezTo>
                  <a:pt x="62" y="82"/>
                  <a:pt x="69" y="89"/>
                  <a:pt x="78" y="89"/>
                </a:cubicBezTo>
                <a:cubicBezTo>
                  <a:pt x="87" y="89"/>
                  <a:pt x="94" y="82"/>
                  <a:pt x="95" y="74"/>
                </a:cubicBezTo>
                <a:lnTo>
                  <a:pt x="97" y="74"/>
                </a:lnTo>
                <a:close/>
                <a:moveTo>
                  <a:pt x="35" y="73"/>
                </a:moveTo>
                <a:cubicBezTo>
                  <a:pt x="35" y="76"/>
                  <a:pt x="33" y="78"/>
                  <a:pt x="29" y="78"/>
                </a:cubicBezTo>
                <a:cubicBezTo>
                  <a:pt x="26" y="78"/>
                  <a:pt x="24" y="76"/>
                  <a:pt x="24" y="73"/>
                </a:cubicBezTo>
                <a:cubicBezTo>
                  <a:pt x="24" y="69"/>
                  <a:pt x="26" y="67"/>
                  <a:pt x="29" y="67"/>
                </a:cubicBezTo>
                <a:cubicBezTo>
                  <a:pt x="33" y="67"/>
                  <a:pt x="35" y="69"/>
                  <a:pt x="35" y="73"/>
                </a:cubicBezTo>
                <a:close/>
                <a:moveTo>
                  <a:pt x="84" y="73"/>
                </a:moveTo>
                <a:cubicBezTo>
                  <a:pt x="84" y="76"/>
                  <a:pt x="81" y="78"/>
                  <a:pt x="78" y="78"/>
                </a:cubicBezTo>
                <a:cubicBezTo>
                  <a:pt x="75" y="78"/>
                  <a:pt x="73" y="76"/>
                  <a:pt x="73" y="73"/>
                </a:cubicBezTo>
                <a:cubicBezTo>
                  <a:pt x="73" y="69"/>
                  <a:pt x="75" y="67"/>
                  <a:pt x="78" y="67"/>
                </a:cubicBezTo>
                <a:cubicBezTo>
                  <a:pt x="81" y="67"/>
                  <a:pt x="84" y="69"/>
                  <a:pt x="84" y="73"/>
                </a:cubicBezTo>
                <a:close/>
                <a:moveTo>
                  <a:pt x="15" y="47"/>
                </a:moveTo>
                <a:cubicBezTo>
                  <a:pt x="15" y="41"/>
                  <a:pt x="15" y="41"/>
                  <a:pt x="15" y="41"/>
                </a:cubicBezTo>
                <a:cubicBezTo>
                  <a:pt x="15" y="39"/>
                  <a:pt x="16" y="38"/>
                  <a:pt x="18" y="37"/>
                </a:cubicBezTo>
                <a:cubicBezTo>
                  <a:pt x="22" y="32"/>
                  <a:pt x="22" y="32"/>
                  <a:pt x="22" y="32"/>
                </a:cubicBezTo>
                <a:cubicBezTo>
                  <a:pt x="24" y="30"/>
                  <a:pt x="25" y="29"/>
                  <a:pt x="27" y="29"/>
                </a:cubicBezTo>
                <a:cubicBezTo>
                  <a:pt x="39" y="29"/>
                  <a:pt x="39" y="29"/>
                  <a:pt x="39" y="29"/>
                </a:cubicBezTo>
                <a:cubicBezTo>
                  <a:pt x="39" y="47"/>
                  <a:pt x="39" y="47"/>
                  <a:pt x="39" y="47"/>
                </a:cubicBezTo>
                <a:lnTo>
                  <a:pt x="15" y="4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644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7</TotalTime>
  <Words>32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ime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74</cp:revision>
  <dcterms:created xsi:type="dcterms:W3CDTF">2021-03-31T02:49:57Z</dcterms:created>
  <dcterms:modified xsi:type="dcterms:W3CDTF">2025-10-15T08:30:45Z</dcterms:modified>
  <cp:category/>
</cp:coreProperties>
</file>